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02985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43416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s://www.youtube.com/watch?v=7NU-STboFeI&amp;ab_channel=UniversalPictures" TargetMode="Externa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dcm.co.uk/planne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hlinkClick r:id="rId2"/>
            <a:extLst>
              <a:ext uri="{FF2B5EF4-FFF2-40B4-BE49-F238E27FC236}">
                <a16:creationId xmlns:a16="http://schemas.microsoft.com/office/drawing/2014/main" id="{5F988AA4-4627-4E47-8BD9-7287FE018C83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6" r="1186"/>
          <a:stretch>
            <a:fillRect/>
          </a:stretch>
        </p:blipFill>
        <p:spPr/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25 March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Jake Gyllenhaal, Eliza Gonzalez, Garret Dillahunt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Michael Bay (</a:t>
            </a:r>
            <a:r>
              <a:rPr lang="en-US" i="1" dirty="0">
                <a:solidFill>
                  <a:schemeClr val="accent6"/>
                </a:solidFill>
              </a:rPr>
              <a:t>Transformers: The Last Knight</a:t>
            </a:r>
            <a:r>
              <a:rPr lang="en-US" dirty="0">
                <a:solidFill>
                  <a:schemeClr val="accent6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Mile 22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Michael Bay is one of the most successful action directors of the past twenty years, turning bombastic spectacle into box office gold.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6-34 Men: 268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351k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GB" b="0" dirty="0"/>
              <a:t>Two robbers steal an ambulance after their heist goes awry.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Ambulanc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US" sz="1400" dirty="0">
                <a:solidFill>
                  <a:schemeClr val="accent6"/>
                </a:solidFill>
              </a:rPr>
              <a:t>A</a:t>
            </a:r>
            <a:r>
              <a:rPr lang="en-GB" sz="1400" dirty="0" err="1">
                <a:solidFill>
                  <a:schemeClr val="accent6"/>
                </a:solidFill>
              </a:rPr>
              <a:t>ction</a:t>
            </a:r>
            <a:r>
              <a:rPr lang="en-GB" sz="1400" dirty="0">
                <a:solidFill>
                  <a:schemeClr val="accent6"/>
                </a:solidFill>
              </a:rPr>
              <a:t>. Thrills. Bay-hem is back!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"/>
              </a:rPr>
              <a:t>Plan your campaig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49676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93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Ambulance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1 2022</dc:title>
  <dc:creator/>
  <dc:description>Ambulance</dc:description>
  <cp:lastModifiedBy/>
  <cp:revision>1</cp:revision>
  <dcterms:created xsi:type="dcterms:W3CDTF">2019-03-25T11:13:20Z</dcterms:created>
  <dcterms:modified xsi:type="dcterms:W3CDTF">2022-01-19T16:59:24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1 2022</vt:lpwstr>
  </property>
  <property fmtid="{D5CDD505-2E9C-101B-9397-08002B2CF9AE}" pid="4" name="SlideDescription">
    <vt:lpwstr>Ambulance</vt:lpwstr>
  </property>
</Properties>
</file>